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767676"/>
    <a:srgbClr val="B7B7B7"/>
    <a:srgbClr val="DCDCDC"/>
    <a:srgbClr val="8D8D8D"/>
    <a:srgbClr val="C60018"/>
    <a:srgbClr val="E5E5E5"/>
    <a:srgbClr val="BDBDBD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FAB06E04-566D-41A3-A270-6F4FAEEBF2E7}"/>
    <pc:docChg chg="custSel modSld">
      <pc:chgData name="Weigel Stefan (PAR-EPS)" userId="fd3b2067-2981-4ad8-bf3a-d2e1004e4fa8" providerId="ADAL" clId="{FAB06E04-566D-41A3-A270-6F4FAEEBF2E7}" dt="2024-02-02T11:38:27.261" v="28" actId="27918"/>
      <pc:docMkLst>
        <pc:docMk/>
      </pc:docMkLst>
      <pc:sldChg chg="modSp mod">
        <pc:chgData name="Weigel Stefan (PAR-EPS)" userId="fd3b2067-2981-4ad8-bf3a-d2e1004e4fa8" providerId="ADAL" clId="{FAB06E04-566D-41A3-A270-6F4FAEEBF2E7}" dt="2024-02-02T11:38:27.261" v="28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FAB06E04-566D-41A3-A270-6F4FAEEBF2E7}" dt="2024-02-02T11:37:21.887" v="25" actId="121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.7301999999999997E-2</c:v>
                </c:pt>
                <c:pt idx="6">
                  <c:v>0.80418599999999996</c:v>
                </c:pt>
                <c:pt idx="7">
                  <c:v>3.9528020000000001</c:v>
                </c:pt>
                <c:pt idx="8">
                  <c:v>9.4050329999999995</c:v>
                </c:pt>
                <c:pt idx="9">
                  <c:v>17.491479000000002</c:v>
                </c:pt>
                <c:pt idx="10">
                  <c:v>23.3278120000000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CFF.ch et Mobile CFF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0.352941</c:v>
                </c:pt>
                <c:pt idx="1">
                  <c:v>13.118081</c:v>
                </c:pt>
                <c:pt idx="2">
                  <c:v>17.974157000000002</c:v>
                </c:pt>
                <c:pt idx="3">
                  <c:v>24.389900000000001</c:v>
                </c:pt>
                <c:pt idx="4">
                  <c:v>32.353721</c:v>
                </c:pt>
                <c:pt idx="5">
                  <c:v>44.220541999999995</c:v>
                </c:pt>
                <c:pt idx="6">
                  <c:v>64.436859999999996</c:v>
                </c:pt>
                <c:pt idx="7">
                  <c:v>51.198005000000002</c:v>
                </c:pt>
                <c:pt idx="8">
                  <c:v>73.108429000000001</c:v>
                </c:pt>
                <c:pt idx="9">
                  <c:v>104.073866</c:v>
                </c:pt>
                <c:pt idx="10">
                  <c:v>126.675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eur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52296000000003</c:v>
                </c:pt>
                <c:pt idx="1">
                  <c:v>48.869484999999997</c:v>
                </c:pt>
                <c:pt idx="2">
                  <c:v>47.893855000000002</c:v>
                </c:pt>
                <c:pt idx="3">
                  <c:v>49.305990000000001</c:v>
                </c:pt>
                <c:pt idx="4">
                  <c:v>48.396062999999998</c:v>
                </c:pt>
                <c:pt idx="5">
                  <c:v>46.495206000000003</c:v>
                </c:pt>
                <c:pt idx="6">
                  <c:v>42.206930999999997</c:v>
                </c:pt>
                <c:pt idx="7">
                  <c:v>24.688984000000001</c:v>
                </c:pt>
                <c:pt idx="8">
                  <c:v>24.878795</c:v>
                </c:pt>
                <c:pt idx="9">
                  <c:v>28.877310000000001</c:v>
                </c:pt>
                <c:pt idx="10">
                  <c:v>27.097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Guichet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1.599886000000001</c:v>
                </c:pt>
                <c:pt idx="1">
                  <c:v>20.913478999999999</c:v>
                </c:pt>
                <c:pt idx="2">
                  <c:v>19.757598999999999</c:v>
                </c:pt>
                <c:pt idx="3">
                  <c:v>15.980143999999999</c:v>
                </c:pt>
                <c:pt idx="4">
                  <c:v>14.588436</c:v>
                </c:pt>
                <c:pt idx="5">
                  <c:v>12.655569</c:v>
                </c:pt>
                <c:pt idx="6">
                  <c:v>11.47528</c:v>
                </c:pt>
                <c:pt idx="7">
                  <c:v>5.9818119999999997</c:v>
                </c:pt>
                <c:pt idx="8">
                  <c:v>6.406377</c:v>
                </c:pt>
                <c:pt idx="9">
                  <c:v>8.9507290000000008</c:v>
                </c:pt>
                <c:pt idx="10">
                  <c:v>9.23242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utre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01521</c:v>
                </c:pt>
                <c:pt idx="1">
                  <c:v>2.1447330000000058</c:v>
                </c:pt>
                <c:pt idx="2">
                  <c:v>1.9853100000000019</c:v>
                </c:pt>
                <c:pt idx="3">
                  <c:v>2.7727089999999954</c:v>
                </c:pt>
                <c:pt idx="4">
                  <c:v>3.5255739999999989</c:v>
                </c:pt>
                <c:pt idx="5">
                  <c:v>3.9583979999999954</c:v>
                </c:pt>
                <c:pt idx="6">
                  <c:v>4.7055430000000058</c:v>
                </c:pt>
                <c:pt idx="7">
                  <c:v>3.9473689999999948</c:v>
                </c:pt>
                <c:pt idx="8">
                  <c:v>4.2629159999999899</c:v>
                </c:pt>
                <c:pt idx="9">
                  <c:v>5.5397880000000299</c:v>
                </c:pt>
                <c:pt idx="10">
                  <c:v>6.544412000000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13" y="630349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900" dirty="0"/>
            <a:t>M </a:t>
          </a:r>
          <a:r>
            <a:rPr lang="de-DE" sz="900" dirty="0" err="1"/>
            <a:t>bill</a:t>
          </a:r>
          <a:r>
            <a:rPr lang="de-DE" sz="900" dirty="0"/>
            <a:t>./</a:t>
          </a:r>
          <a:r>
            <a:rPr lang="de-DE" sz="900" dirty="0" err="1"/>
            <a:t>abo</a:t>
          </a:r>
          <a:r>
            <a:rPr lang="de-DE" sz="900" dirty="0"/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87718101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fr-FR" dirty="0"/>
              <a:t>Vente de billets par canal de distribution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utres: renouvellement automatique de l’abonnement, partenaires de distribution et Rail Service.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0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2f5c8543-cf23-4718-a3b8-32b0a91d511a"/>
    <ds:schemaRef ds:uri="http://schemas.microsoft.com/office/2006/metadata/properties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6C910CA-596D-471C-A597-F1CEC10535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te de billets par canal de distribu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te de billets par canal de distribution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